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55" r:id="rId5"/>
  </p:sldMasterIdLst>
  <p:notesMasterIdLst>
    <p:notesMasterId r:id="rId9"/>
  </p:notesMasterIdLst>
  <p:handoutMasterIdLst>
    <p:handoutMasterId r:id="rId10"/>
  </p:handoutMasterIdLst>
  <p:sldIdLst>
    <p:sldId id="256" r:id="rId6"/>
    <p:sldId id="259" r:id="rId7"/>
    <p:sldId id="258" r:id="rId8"/>
  </p:sldIdLst>
  <p:sldSz cx="12192000" cy="6858000"/>
  <p:notesSz cx="6858000" cy="9144000"/>
  <p:custDataLst>
    <p:tags r:id="rId1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34652AF8-F172-F70D-0FCE-7F2E388FC644}" name="Jerome Barrand" initials="JB" userId="S::jerome.barrand@michelin.com::85302edd-c94a-4460-b5ba-9b4cfec95939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ECFF"/>
    <a:srgbClr val="2F559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0D4A048-06F6-456B-AC9C-D0691CB25F3F}" v="5" dt="2025-08-20T15:18:41.22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4616" autoAdjust="0"/>
  </p:normalViewPr>
  <p:slideViewPr>
    <p:cSldViewPr snapToGrid="0">
      <p:cViewPr varScale="1">
        <p:scale>
          <a:sx n="101" d="100"/>
          <a:sy n="101" d="100"/>
        </p:scale>
        <p:origin x="91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2" d="100"/>
          <a:sy n="62" d="100"/>
        </p:scale>
        <p:origin x="3226" y="77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presProps" Target="presProps.xml"/><Relationship Id="rId17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tags" Target="tags/tag1.xml"/><Relationship Id="rId5" Type="http://schemas.openxmlformats.org/officeDocument/2006/relationships/slideMaster" Target="slideMasters/slideMaster2.xml"/><Relationship Id="rId15" Type="http://schemas.openxmlformats.org/officeDocument/2006/relationships/tableStyles" Target="tableStyles.xml"/><Relationship Id="rId10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025DC11D-5762-4102-A088-3B15A4C59C4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1AFC246-4C4E-4EB6-AFEA-8C2DA4F4FFC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7A07AF7-D8C9-483B-BE98-565A7D862BDA}" type="datetimeFigureOut">
              <a:rPr lang="en-US" smtClean="0"/>
              <a:t>8/20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9B5D930-BB99-4828-9494-34A98A22706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24CF785-F6BA-480A-A198-169D77D6259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DCBBEBE-BECD-4634-A76D-F063B23DD24E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106508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4A41AD2-D453-40F1-9247-A8DD61448133}" type="datetimeFigureOut">
              <a:rPr lang="en-US" smtClean="0"/>
              <a:t>8/20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93D99B-8DC3-4891-9707-3320E2A84D8C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62795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ETRTO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FA5212-AC13-46FC-8E04-5F425458226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1731937"/>
            <a:ext cx="9144000" cy="1778027"/>
          </a:xfrm>
          <a:prstGeom prst="rect">
            <a:avLst/>
          </a:prstGeo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introduce the presentation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5342736-8A29-45B3-82E6-A52068F356D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794422"/>
            <a:ext cx="9144000" cy="49944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introduce the S/C, WG or TF related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5E822D69-580D-4040-808C-CD609E39AE9B}"/>
              </a:ext>
            </a:extLst>
          </p:cNvPr>
          <p:cNvCxnSpPr>
            <a:cxnSpLocks/>
          </p:cNvCxnSpPr>
          <p:nvPr userDrawn="1"/>
        </p:nvCxnSpPr>
        <p:spPr>
          <a:xfrm>
            <a:off x="1" y="6203697"/>
            <a:ext cx="11544299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5E008C81-6841-4671-8074-1DD7F2F5CEE1}"/>
              </a:ext>
            </a:extLst>
          </p:cNvPr>
          <p:cNvCxnSpPr>
            <a:cxnSpLocks/>
          </p:cNvCxnSpPr>
          <p:nvPr userDrawn="1"/>
        </p:nvCxnSpPr>
        <p:spPr>
          <a:xfrm>
            <a:off x="11530711" y="2"/>
            <a:ext cx="0" cy="6219825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 descr="A logo with a black background&#10;&#10;Description automatically generated">
            <a:extLst>
              <a:ext uri="{FF2B5EF4-FFF2-40B4-BE49-F238E27FC236}">
                <a16:creationId xmlns:a16="http://schemas.microsoft.com/office/drawing/2014/main" id="{374B9AB1-6E38-E3FA-8F27-896FDA09A7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7255" y="258700"/>
            <a:ext cx="2949492" cy="1188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83271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TRTO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:a16="http://schemas.microsoft.com/office/drawing/2014/main" id="{19F7E399-283F-4391-8129-349183F72073}"/>
              </a:ext>
            </a:extLst>
          </p:cNvPr>
          <p:cNvSpPr/>
          <p:nvPr userDrawn="1"/>
        </p:nvSpPr>
        <p:spPr>
          <a:xfrm rot="5400000">
            <a:off x="8427079" y="3101850"/>
            <a:ext cx="6858000" cy="654303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bg1"/>
              </a:solidFill>
            </a:endParaRPr>
          </a:p>
        </p:txBody>
      </p:sp>
      <p:pic>
        <p:nvPicPr>
          <p:cNvPr id="5" name="Picture 4" descr="A map of europe with black text&#10;&#10;Description automatically generated">
            <a:extLst>
              <a:ext uri="{FF2B5EF4-FFF2-40B4-BE49-F238E27FC236}">
                <a16:creationId xmlns:a16="http://schemas.microsoft.com/office/drawing/2014/main" id="{9E70B070-A103-561B-B905-710EECA1C15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81300" y="6161784"/>
            <a:ext cx="654304" cy="654304"/>
          </a:xfrm>
          <a:prstGeom prst="rect">
            <a:avLst/>
          </a:prstGeom>
        </p:spPr>
      </p:pic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23541A0-6D1D-48E8-AAE7-7E4D17C6C7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159" y="62130"/>
            <a:ext cx="11622077" cy="57632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941DD9A-7441-9DB0-87C8-05CA51B5F45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160" y="775958"/>
            <a:ext cx="11622078" cy="557614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235910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TRTOLast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6FA895-CD02-4899-9FDB-C7D9066F6A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15160" y="2447133"/>
            <a:ext cx="7858760" cy="13255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introduce the thanks slid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C48BCEC-456F-4A34-8CA5-3B8327A0F549}"/>
              </a:ext>
            </a:extLst>
          </p:cNvPr>
          <p:cNvCxnSpPr>
            <a:cxnSpLocks/>
          </p:cNvCxnSpPr>
          <p:nvPr userDrawn="1"/>
        </p:nvCxnSpPr>
        <p:spPr>
          <a:xfrm>
            <a:off x="11530711" y="-136526"/>
            <a:ext cx="0" cy="6356351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8E0E6393-AB16-4152-98BD-FEA8EB740D96}"/>
              </a:ext>
            </a:extLst>
          </p:cNvPr>
          <p:cNvCxnSpPr>
            <a:cxnSpLocks/>
          </p:cNvCxnSpPr>
          <p:nvPr userDrawn="1"/>
        </p:nvCxnSpPr>
        <p:spPr>
          <a:xfrm>
            <a:off x="1" y="6203697"/>
            <a:ext cx="11544299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 descr="A logo with a black background&#10;&#10;Description automatically generated">
            <a:extLst>
              <a:ext uri="{FF2B5EF4-FFF2-40B4-BE49-F238E27FC236}">
                <a16:creationId xmlns:a16="http://schemas.microsoft.com/office/drawing/2014/main" id="{0026DD0A-C1E7-99DC-8448-FBE5301440F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7255" y="258700"/>
            <a:ext cx="2949492" cy="1188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344457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ETRTO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08A4A44D-0673-41DF-9966-C187F6994304}"/>
              </a:ext>
            </a:extLst>
          </p:cNvPr>
          <p:cNvSpPr/>
          <p:nvPr userDrawn="1"/>
        </p:nvSpPr>
        <p:spPr>
          <a:xfrm>
            <a:off x="-1524" y="0"/>
            <a:ext cx="12191999" cy="685800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DFA5212-AC13-46FC-8E04-5F425458226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1731937"/>
            <a:ext cx="9144000" cy="1778027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introduce the presentation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5342736-8A29-45B3-82E6-A52068F356D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794422"/>
            <a:ext cx="9144000" cy="499445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introduce the S/C, WG or TF related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5E822D69-580D-4040-808C-CD609E39AE9B}"/>
              </a:ext>
            </a:extLst>
          </p:cNvPr>
          <p:cNvCxnSpPr>
            <a:cxnSpLocks/>
          </p:cNvCxnSpPr>
          <p:nvPr userDrawn="1"/>
        </p:nvCxnSpPr>
        <p:spPr>
          <a:xfrm>
            <a:off x="1" y="6203697"/>
            <a:ext cx="11544299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5E008C81-6841-4671-8074-1DD7F2F5CEE1}"/>
              </a:ext>
            </a:extLst>
          </p:cNvPr>
          <p:cNvCxnSpPr>
            <a:cxnSpLocks/>
          </p:cNvCxnSpPr>
          <p:nvPr userDrawn="1"/>
        </p:nvCxnSpPr>
        <p:spPr>
          <a:xfrm>
            <a:off x="11530711" y="2"/>
            <a:ext cx="0" cy="6219825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E2643AFC-712B-4143-8A50-2EAD908674B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84199" y="6234177"/>
            <a:ext cx="27432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fld id="{65011442-9EA8-43C1-A90A-E8091E9236D0}" type="datetime2">
              <a:rPr lang="en-US" smtClean="0"/>
              <a:t>Wednesday, August 20, 2025</a:t>
            </a:fld>
            <a:endParaRPr lang="en-US" dirty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D656DD63-4220-4DB3-9F16-2F5E3C67ED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84599" y="6234177"/>
            <a:ext cx="41148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he European Tyre and Rim Technical Organization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AC977606-7EF4-42CF-877F-085EFD49FB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356599" y="6234177"/>
            <a:ext cx="27432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fld id="{74F045D9-6A50-447E-9A04-3B3C9EFFC6F0}" type="slidenum">
              <a:rPr lang="en-US" smtClean="0"/>
              <a:pPr/>
              <a:t>‹N°›</a:t>
            </a:fld>
            <a:endParaRPr lang="en-US" dirty="0"/>
          </a:p>
        </p:txBody>
      </p:sp>
      <p:sp>
        <p:nvSpPr>
          <p:cNvPr id="17" name="Date Placeholder 3">
            <a:extLst>
              <a:ext uri="{FF2B5EF4-FFF2-40B4-BE49-F238E27FC236}">
                <a16:creationId xmlns:a16="http://schemas.microsoft.com/office/drawing/2014/main" id="{BFC4B428-A592-43D9-9BE7-07BF777F4512}"/>
              </a:ext>
            </a:extLst>
          </p:cNvPr>
          <p:cNvSpPr txBox="1">
            <a:spLocks/>
          </p:cNvSpPr>
          <p:nvPr userDrawn="1"/>
        </p:nvSpPr>
        <p:spPr>
          <a:xfrm>
            <a:off x="914400" y="6591290"/>
            <a:ext cx="10363200" cy="15990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0" dirty="0">
                <a:effectLst/>
              </a:rPr>
              <a:t>May contain confidential and/or proprietary information. </a:t>
            </a:r>
          </a:p>
        </p:txBody>
      </p:sp>
      <p:pic>
        <p:nvPicPr>
          <p:cNvPr id="7" name="Picture 6" descr="A logo with a black background&#10;&#10;Description automatically generated">
            <a:extLst>
              <a:ext uri="{FF2B5EF4-FFF2-40B4-BE49-F238E27FC236}">
                <a16:creationId xmlns:a16="http://schemas.microsoft.com/office/drawing/2014/main" id="{374B9AB1-6E38-E3FA-8F27-896FDA09A7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7255" y="258700"/>
            <a:ext cx="2949492" cy="1188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659705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TRTO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>
            <a:extLst>
              <a:ext uri="{FF2B5EF4-FFF2-40B4-BE49-F238E27FC236}">
                <a16:creationId xmlns:a16="http://schemas.microsoft.com/office/drawing/2014/main" id="{1CA3A41B-2351-42EB-B9E3-456F6C3C8C21}"/>
              </a:ext>
            </a:extLst>
          </p:cNvPr>
          <p:cNvSpPr/>
          <p:nvPr userDrawn="1"/>
        </p:nvSpPr>
        <p:spPr>
          <a:xfrm>
            <a:off x="0" y="6203697"/>
            <a:ext cx="12183229" cy="654302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bg1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19F7E399-283F-4391-8129-349183F72073}"/>
              </a:ext>
            </a:extLst>
          </p:cNvPr>
          <p:cNvSpPr/>
          <p:nvPr userDrawn="1"/>
        </p:nvSpPr>
        <p:spPr>
          <a:xfrm rot="5400000">
            <a:off x="8427079" y="3101850"/>
            <a:ext cx="6858000" cy="654303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bg1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652377-5DEE-497F-9639-62A87421C7B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4199" y="1733474"/>
            <a:ext cx="10515600" cy="408298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A441D8B-6044-4E89-AA2F-39C11F6D0E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4199" y="352614"/>
            <a:ext cx="10515600" cy="8094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introduce slide title</a:t>
            </a:r>
          </a:p>
        </p:txBody>
      </p: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B6189BA6-A78A-458D-A1BF-A748C6605E2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84199" y="6234177"/>
            <a:ext cx="27432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fld id="{65011442-9EA8-43C1-A90A-E8091E9236D0}" type="datetime2">
              <a:rPr lang="en-US" smtClean="0"/>
              <a:t>Wednesday, August 20, 2025</a:t>
            </a:fld>
            <a:endParaRPr lang="en-US" dirty="0"/>
          </a:p>
        </p:txBody>
      </p:sp>
      <p:sp>
        <p:nvSpPr>
          <p:cNvPr id="20" name="Footer Placeholder 4">
            <a:extLst>
              <a:ext uri="{FF2B5EF4-FFF2-40B4-BE49-F238E27FC236}">
                <a16:creationId xmlns:a16="http://schemas.microsoft.com/office/drawing/2014/main" id="{FA1D1347-8516-4D37-A6CB-8952EDBFEB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84599" y="6234177"/>
            <a:ext cx="41148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en-US"/>
              <a:t>The European Tyre and Rim Technical Organization</a:t>
            </a:r>
            <a:endParaRPr lang="en-US" dirty="0"/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27B7DE60-A3A8-440C-8851-A7DE74D42F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356599" y="6234177"/>
            <a:ext cx="27432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fld id="{74F045D9-6A50-447E-9A04-3B3C9EFFC6F0}" type="slidenum">
              <a:rPr lang="en-US" smtClean="0"/>
              <a:pPr/>
              <a:t>‹N°›</a:t>
            </a:fld>
            <a:endParaRPr lang="en-US" dirty="0"/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95B0E025-50FF-40F8-B9E2-5C12233B0807}"/>
              </a:ext>
            </a:extLst>
          </p:cNvPr>
          <p:cNvSpPr txBox="1">
            <a:spLocks/>
          </p:cNvSpPr>
          <p:nvPr userDrawn="1"/>
        </p:nvSpPr>
        <p:spPr>
          <a:xfrm>
            <a:off x="914400" y="6591290"/>
            <a:ext cx="10363200" cy="15990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0" dirty="0">
                <a:effectLst/>
              </a:rPr>
              <a:t>May contain confidential and/or proprietary information. </a:t>
            </a:r>
          </a:p>
        </p:txBody>
      </p:sp>
      <p:pic>
        <p:nvPicPr>
          <p:cNvPr id="5" name="Picture 4" descr="A map of europe with black text&#10;&#10;Description automatically generated">
            <a:extLst>
              <a:ext uri="{FF2B5EF4-FFF2-40B4-BE49-F238E27FC236}">
                <a16:creationId xmlns:a16="http://schemas.microsoft.com/office/drawing/2014/main" id="{9E70B070-A103-561B-B905-710EECA1C15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11041" y="6191525"/>
            <a:ext cx="594822" cy="5948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697206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TRTOLast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F0079891-027E-4253-9710-8CB8A22A8DF0}"/>
              </a:ext>
            </a:extLst>
          </p:cNvPr>
          <p:cNvSpPr/>
          <p:nvPr userDrawn="1"/>
        </p:nvSpPr>
        <p:spPr>
          <a:xfrm>
            <a:off x="2" y="-136526"/>
            <a:ext cx="12191999" cy="6994521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6FA895-CD02-4899-9FDB-C7D9066F6A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15160" y="2447133"/>
            <a:ext cx="7858760" cy="13255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introduce the thanks slid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C48BCEC-456F-4A34-8CA5-3B8327A0F549}"/>
              </a:ext>
            </a:extLst>
          </p:cNvPr>
          <p:cNvCxnSpPr>
            <a:cxnSpLocks/>
          </p:cNvCxnSpPr>
          <p:nvPr userDrawn="1"/>
        </p:nvCxnSpPr>
        <p:spPr>
          <a:xfrm>
            <a:off x="11530711" y="-136526"/>
            <a:ext cx="0" cy="6356351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8E0E6393-AB16-4152-98BD-FEA8EB740D96}"/>
              </a:ext>
            </a:extLst>
          </p:cNvPr>
          <p:cNvCxnSpPr>
            <a:cxnSpLocks/>
          </p:cNvCxnSpPr>
          <p:nvPr userDrawn="1"/>
        </p:nvCxnSpPr>
        <p:spPr>
          <a:xfrm>
            <a:off x="1" y="6203697"/>
            <a:ext cx="11544299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Date Placeholder 3">
            <a:extLst>
              <a:ext uri="{FF2B5EF4-FFF2-40B4-BE49-F238E27FC236}">
                <a16:creationId xmlns:a16="http://schemas.microsoft.com/office/drawing/2014/main" id="{3788463E-D249-4DF9-BFCA-811B0DB980C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84199" y="6234177"/>
            <a:ext cx="27432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fld id="{65011442-9EA8-43C1-A90A-E8091E9236D0}" type="datetime2">
              <a:rPr lang="en-US" smtClean="0"/>
              <a:t>Wednesday, August 20, 2025</a:t>
            </a:fld>
            <a:endParaRPr lang="en-US" dirty="0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CB942C3F-78A5-4C01-BF16-57AFE32861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84599" y="6234177"/>
            <a:ext cx="41148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en-US"/>
              <a:t>The European Tyre and Rim Technical Organization</a:t>
            </a:r>
            <a:endParaRPr lang="en-US" dirty="0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A05C9697-1DE4-4BA2-A69B-EE6DE60F80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356599" y="6234177"/>
            <a:ext cx="27432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fld id="{74F045D9-6A50-447E-9A04-3B3C9EFFC6F0}" type="slidenum">
              <a:rPr lang="en-US" smtClean="0"/>
              <a:pPr/>
              <a:t>‹N°›</a:t>
            </a:fld>
            <a:endParaRPr lang="en-US" dirty="0"/>
          </a:p>
        </p:txBody>
      </p:sp>
      <p:sp>
        <p:nvSpPr>
          <p:cNvPr id="17" name="Date Placeholder 3">
            <a:extLst>
              <a:ext uri="{FF2B5EF4-FFF2-40B4-BE49-F238E27FC236}">
                <a16:creationId xmlns:a16="http://schemas.microsoft.com/office/drawing/2014/main" id="{5AF9B7BB-7A47-494F-A220-732BE5DBACA8}"/>
              </a:ext>
            </a:extLst>
          </p:cNvPr>
          <p:cNvSpPr txBox="1">
            <a:spLocks/>
          </p:cNvSpPr>
          <p:nvPr userDrawn="1"/>
        </p:nvSpPr>
        <p:spPr>
          <a:xfrm>
            <a:off x="914400" y="6591290"/>
            <a:ext cx="10363200" cy="15990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0" dirty="0">
                <a:effectLst/>
              </a:rPr>
              <a:t>May contain confidential and/or proprietary information. </a:t>
            </a:r>
          </a:p>
        </p:txBody>
      </p:sp>
      <p:pic>
        <p:nvPicPr>
          <p:cNvPr id="9" name="Picture 8" descr="A logo with a black background&#10;&#10;Description automatically generated">
            <a:extLst>
              <a:ext uri="{FF2B5EF4-FFF2-40B4-BE49-F238E27FC236}">
                <a16:creationId xmlns:a16="http://schemas.microsoft.com/office/drawing/2014/main" id="{0026DD0A-C1E7-99DC-8448-FBE5301440F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7255" y="258700"/>
            <a:ext cx="2949492" cy="1188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69066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613973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B52A9233-5587-7224-AC7A-3D005385CD29}"/>
              </a:ext>
            </a:extLst>
          </p:cNvPr>
          <p:cNvSpPr/>
          <p:nvPr userDrawn="1"/>
        </p:nvSpPr>
        <p:spPr>
          <a:xfrm>
            <a:off x="-6935" y="0"/>
            <a:ext cx="12191999" cy="685800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bg1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15BEA4E-B31A-4947-805D-96C6B60AA2D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1160" y="775958"/>
            <a:ext cx="11622078" cy="557614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4444A93-C5F7-48FE-93AC-1DEF282327C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7757" y="6411616"/>
            <a:ext cx="1802203" cy="22328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fr-FR"/>
              <a:t>2025 May 14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3B03F57-D60F-41A8-9A52-CCD61D41743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20414" y="6411616"/>
            <a:ext cx="6425612" cy="22328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European Tyre &amp; Rim Technical Organisation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4B9DC25-E271-4B58-9561-4E6E8E6F5BA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411616"/>
            <a:ext cx="2743200" cy="22328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4F045D9-6A50-447E-9A04-3B3C9EFFC6F0}" type="slidenum">
              <a:rPr lang="en-US" smtClean="0"/>
              <a:t>‹N°›</a:t>
            </a:fld>
            <a:endParaRPr lang="en-US"/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986782E9-0171-3FA9-9D77-CDA2654872E9}"/>
              </a:ext>
            </a:extLst>
          </p:cNvPr>
          <p:cNvSpPr txBox="1">
            <a:spLocks/>
          </p:cNvSpPr>
          <p:nvPr userDrawn="1"/>
        </p:nvSpPr>
        <p:spPr>
          <a:xfrm>
            <a:off x="914400" y="6683272"/>
            <a:ext cx="10363200" cy="15990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0" dirty="0">
                <a:effectLst/>
              </a:rPr>
              <a:t>May contain confidential and/or proprietary information. 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4C2AE2BA-183F-C676-77C5-A6CC2E0DD649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925312" y="6672580"/>
            <a:ext cx="369888" cy="12192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8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nal</a:t>
            </a:r>
          </a:p>
        </p:txBody>
      </p:sp>
    </p:spTree>
    <p:extLst>
      <p:ext uri="{BB962C8B-B14F-4D97-AF65-F5344CB8AC3E}">
        <p14:creationId xmlns:p14="http://schemas.microsoft.com/office/powerpoint/2010/main" val="13156290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4" r:id="rId3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chemeClr val="bg1"/>
          </a:solidFill>
          <a:latin typeface="+mn-lt"/>
          <a:ea typeface="+mn-ea"/>
          <a:cs typeface="+mn-cs"/>
        </a:defRPr>
      </a:lvl1pPr>
      <a:lvl2pPr marL="449263" indent="-179388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+mn-lt"/>
          <a:ea typeface="+mn-ea"/>
          <a:cs typeface="+mn-cs"/>
        </a:defRPr>
      </a:lvl2pPr>
      <a:lvl3pPr marL="627063" indent="-1778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+mn-lt"/>
          <a:ea typeface="+mn-ea"/>
          <a:cs typeface="+mn-cs"/>
        </a:defRPr>
      </a:lvl3pPr>
      <a:lvl4pPr marL="806450" indent="-179388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bg1"/>
          </a:solidFill>
          <a:latin typeface="+mn-lt"/>
          <a:ea typeface="+mn-ea"/>
          <a:cs typeface="+mn-cs"/>
        </a:defRPr>
      </a:lvl4pPr>
      <a:lvl5pPr marL="984250" indent="-1778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23541A0-6D1D-48E8-AAE7-7E4D17C6C7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15BEA4E-B31A-4947-805D-96C6B60AA2D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4444A93-C5F7-48FE-93AC-1DEF282327C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4396A1E-7A29-44FA-8EF3-E01DAB2A90F2}" type="datetime2">
              <a:rPr lang="en-US" smtClean="0"/>
              <a:t>Wednesday, August 20, 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3B03F57-D60F-41A8-9A52-CCD61D41743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The European Tyre and Rim Technical Organizati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4B9DC25-E271-4B58-9561-4E6E8E6F5BA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4F045D9-6A50-447E-9A04-3B3C9EFFC6F0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75995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58" r:id="rId3"/>
    <p:sldLayoutId id="2147483659" r:id="rId4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22">
            <a:extLst>
              <a:ext uri="{FF2B5EF4-FFF2-40B4-BE49-F238E27FC236}">
                <a16:creationId xmlns:a16="http://schemas.microsoft.com/office/drawing/2014/main" id="{D48780D4-D9D9-95B8-5A92-B8C64D74004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41300" y="1731937"/>
            <a:ext cx="11128665" cy="1778027"/>
          </a:xfrm>
        </p:spPr>
        <p:txBody>
          <a:bodyPr/>
          <a:lstStyle/>
          <a:p>
            <a:r>
              <a:rPr lang="en-US" sz="4800" dirty="0"/>
              <a:t>XL tyres allowance</a:t>
            </a:r>
          </a:p>
        </p:txBody>
      </p:sp>
      <p:sp>
        <p:nvSpPr>
          <p:cNvPr id="24" name="Subtitle 23">
            <a:extLst>
              <a:ext uri="{FF2B5EF4-FFF2-40B4-BE49-F238E27FC236}">
                <a16:creationId xmlns:a16="http://schemas.microsoft.com/office/drawing/2014/main" id="{AE9B229A-CA90-1350-36B2-3BF1598F58A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54089" y="3613447"/>
            <a:ext cx="11128665" cy="1949153"/>
          </a:xfrm>
        </p:spPr>
        <p:txBody>
          <a:bodyPr>
            <a:normAutofit fontScale="92500" lnSpcReduction="10000"/>
          </a:bodyPr>
          <a:lstStyle/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dirty="0"/>
              <a:t>Target: confirm the allowance of 0.1 for AI of XL </a:t>
            </a:r>
            <a:r>
              <a:rPr lang="en-US" dirty="0" err="1"/>
              <a:t>tyres</a:t>
            </a:r>
            <a:r>
              <a:rPr lang="en-US" dirty="0"/>
              <a:t> vs. SL tyres.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dirty="0"/>
              <a:t>To this end, ETRTO realized tests with </a:t>
            </a:r>
            <a:r>
              <a:rPr lang="en-US" dirty="0" err="1"/>
              <a:t>WinSRTT</a:t>
            </a:r>
            <a:r>
              <a:rPr lang="en-US" dirty="0"/>
              <a:t> at IFV and </a:t>
            </a:r>
            <a:r>
              <a:rPr lang="en-US" dirty="0" err="1"/>
              <a:t>SumSRTT</a:t>
            </a:r>
            <a:r>
              <a:rPr lang="en-US" dirty="0"/>
              <a:t> at DEKRA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dirty="0"/>
              <a:t>The same SRTT tyre models have been used in SL and XL condition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dirty="0"/>
              <a:t>SL conditions: pressure 250 kPa, load ~1650 kg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dirty="0"/>
              <a:t>XL conditions: pressure 290 kPa, load ~1785 kg 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9F3125D-CFBC-40C4-9FF0-ABDA1D226A2D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584200" y="6234113"/>
            <a:ext cx="2743200" cy="365125"/>
          </a:xfrm>
        </p:spPr>
        <p:txBody>
          <a:bodyPr/>
          <a:lstStyle/>
          <a:p>
            <a:r>
              <a:rPr lang="fr-FR" dirty="0"/>
              <a:t>2025 August 21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F265715-0852-4EBC-99A8-542DE3FFF71A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3784600" y="6234115"/>
            <a:ext cx="4114800" cy="365125"/>
          </a:xfrm>
        </p:spPr>
        <p:txBody>
          <a:bodyPr/>
          <a:lstStyle/>
          <a:p>
            <a:r>
              <a:rPr lang="en-001" dirty="0">
                <a:solidFill>
                  <a:schemeClr val="bg1"/>
                </a:solidFill>
              </a:rPr>
              <a:t>European Tyre &amp; Rim Technical Organisati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42D440-BEBF-4CA7-AD1F-F7C0A6F03012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356600" y="6234115"/>
            <a:ext cx="2743200" cy="365125"/>
          </a:xfrm>
        </p:spPr>
        <p:txBody>
          <a:bodyPr/>
          <a:lstStyle/>
          <a:p>
            <a:fld id="{74F045D9-6A50-447E-9A04-3B3C9EFFC6F0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102157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>
            <a:extLst>
              <a:ext uri="{FF2B5EF4-FFF2-40B4-BE49-F238E27FC236}">
                <a16:creationId xmlns:a16="http://schemas.microsoft.com/office/drawing/2014/main" id="{FC72788E-643B-DF0C-2875-B895F8C6E5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199" y="66889"/>
            <a:ext cx="10515600" cy="809411"/>
          </a:xfrm>
        </p:spPr>
        <p:txBody>
          <a:bodyPr>
            <a:noAutofit/>
          </a:bodyPr>
          <a:lstStyle/>
          <a:p>
            <a:r>
              <a:rPr lang="en-US" sz="3200" dirty="0"/>
              <a:t>ETRTO test results illustrating XL vs SL </a:t>
            </a:r>
            <a:r>
              <a:rPr lang="en-US" sz="3200" dirty="0" err="1"/>
              <a:t>tyres</a:t>
            </a:r>
            <a:r>
              <a:rPr lang="en-US" sz="3200" dirty="0"/>
              <a:t> abrasion index</a:t>
            </a:r>
            <a:endParaRPr lang="fr-BE" sz="3200" dirty="0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A6155062-7FAF-4AEB-B08D-EFD97A7A47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250611</a:t>
            </a:r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EB36E80C-EC5C-97BD-724D-7EE785B3F6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European Tyre and Rim Technical Organization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CB713CA7-9796-73AC-142E-1FD34E300B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4F045D9-6A50-447E-9A04-3B3C9EFFC6F0}" type="slidenum">
              <a:rPr kumimoji="0" lang="en-US" sz="1200" b="1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Espace réservé du contenu 2">
            <a:extLst>
              <a:ext uri="{FF2B5EF4-FFF2-40B4-BE49-F238E27FC236}">
                <a16:creationId xmlns:a16="http://schemas.microsoft.com/office/drawing/2014/main" id="{1CF3FC6C-2537-7DA4-799E-3657E5D0FDB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9100" y="876300"/>
            <a:ext cx="11188701" cy="5357877"/>
          </a:xfrm>
        </p:spPr>
        <p:txBody>
          <a:bodyPr>
            <a:normAutofit fontScale="70000" lnSpcReduction="20000"/>
          </a:bodyPr>
          <a:lstStyle/>
          <a:p>
            <a:r>
              <a:rPr lang="en-US" sz="1900" dirty="0"/>
              <a:t>Test performed: compare same physical tyres (</a:t>
            </a:r>
            <a:r>
              <a:rPr lang="en-US" sz="1900" dirty="0" err="1"/>
              <a:t>WinSRTT</a:t>
            </a:r>
            <a:r>
              <a:rPr lang="en-US" sz="1900" dirty="0"/>
              <a:t>  and </a:t>
            </a:r>
            <a:r>
              <a:rPr lang="en-US" sz="1900" dirty="0" err="1"/>
              <a:t>SumSRTT</a:t>
            </a:r>
            <a:r>
              <a:rPr lang="en-US" sz="1900" dirty="0"/>
              <a:t>) @ </a:t>
            </a:r>
          </a:p>
          <a:p>
            <a:pPr lvl="1"/>
            <a:r>
              <a:rPr lang="en-US" sz="1900" dirty="0" err="1"/>
              <a:t>SumSRTT</a:t>
            </a:r>
            <a:r>
              <a:rPr lang="en-US" sz="1900" dirty="0"/>
              <a:t> test</a:t>
            </a:r>
          </a:p>
          <a:p>
            <a:pPr lvl="2"/>
            <a:r>
              <a:rPr lang="en-US" sz="1900" dirty="0"/>
              <a:t>SL: 250 kPa and ~ 1650 kg</a:t>
            </a:r>
          </a:p>
          <a:p>
            <a:pPr lvl="2"/>
            <a:r>
              <a:rPr lang="en-US" sz="1900" dirty="0"/>
              <a:t>XL: 290 kPa and ~ 1785 kg</a:t>
            </a:r>
          </a:p>
          <a:p>
            <a:pPr lvl="1"/>
            <a:r>
              <a:rPr lang="en-US" sz="1900" dirty="0" err="1"/>
              <a:t>WinSRTT</a:t>
            </a:r>
            <a:r>
              <a:rPr lang="en-US" sz="1900" dirty="0"/>
              <a:t> test</a:t>
            </a:r>
          </a:p>
          <a:p>
            <a:pPr lvl="2"/>
            <a:r>
              <a:rPr lang="en-US" sz="1900" dirty="0"/>
              <a:t>SL: 250 kPa and ~ 1650 kg</a:t>
            </a:r>
          </a:p>
          <a:p>
            <a:pPr lvl="2"/>
            <a:r>
              <a:rPr lang="en-US" sz="1900" dirty="0"/>
              <a:t>XL: 290 kPa and ~ 1785 kg</a:t>
            </a:r>
          </a:p>
          <a:p>
            <a:pPr lvl="1"/>
            <a:r>
              <a:rPr lang="en-US" sz="1900" dirty="0"/>
              <a:t>Detailed tests parameters:</a:t>
            </a:r>
          </a:p>
          <a:p>
            <a:pPr lvl="2"/>
            <a:endParaRPr lang="en-US" dirty="0"/>
          </a:p>
          <a:p>
            <a:pPr lvl="2"/>
            <a:endParaRPr lang="en-US" dirty="0"/>
          </a:p>
          <a:p>
            <a:pPr lvl="2"/>
            <a:endParaRPr lang="en-US" dirty="0"/>
          </a:p>
          <a:p>
            <a:pPr lvl="2"/>
            <a:endParaRPr lang="en-US" dirty="0"/>
          </a:p>
          <a:p>
            <a:pPr lvl="2"/>
            <a:endParaRPr lang="en-US" dirty="0"/>
          </a:p>
          <a:p>
            <a:pPr lvl="2"/>
            <a:endParaRPr lang="en-US" dirty="0"/>
          </a:p>
          <a:p>
            <a:pPr lvl="2"/>
            <a:endParaRPr lang="en-US" dirty="0"/>
          </a:p>
          <a:p>
            <a:pPr lvl="2"/>
            <a:endParaRPr lang="en-US" dirty="0"/>
          </a:p>
          <a:p>
            <a:pPr lvl="2"/>
            <a:endParaRPr lang="en-US" dirty="0"/>
          </a:p>
          <a:p>
            <a:pPr marL="914400" lvl="2" indent="0">
              <a:buNone/>
            </a:pPr>
            <a:endParaRPr lang="en-US" dirty="0"/>
          </a:p>
          <a:p>
            <a:pPr lvl="2"/>
            <a:endParaRPr lang="en-US" dirty="0"/>
          </a:p>
          <a:p>
            <a:pPr lvl="2"/>
            <a:endParaRPr lang="en-US" dirty="0"/>
          </a:p>
          <a:p>
            <a:r>
              <a:rPr lang="en-US" sz="2800" dirty="0"/>
              <a:t>Conclusion: both </a:t>
            </a:r>
            <a:r>
              <a:rPr lang="en-US" sz="2800" dirty="0" err="1"/>
              <a:t>tyre</a:t>
            </a:r>
            <a:r>
              <a:rPr lang="en-US" sz="2800" dirty="0"/>
              <a:t> models (XL) have demonstrated a difference of about -0.1 for their abrasion rate index when tested in SL conditions</a:t>
            </a:r>
          </a:p>
          <a:p>
            <a:r>
              <a:rPr lang="en-US" sz="2800" b="1" dirty="0"/>
              <a:t>Maintaining an allowance of 0.1 over time for abrasion index for XL </a:t>
            </a:r>
            <a:r>
              <a:rPr lang="en-US" sz="2800" b="1" dirty="0" err="1"/>
              <a:t>tyres</a:t>
            </a:r>
            <a:r>
              <a:rPr lang="en-US" sz="2800" b="1"/>
              <a:t> is essential to preserve consistency with validated test conditions.</a:t>
            </a:r>
            <a:endParaRPr lang="en-US" sz="2800" b="1" dirty="0"/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10320F44-AFEA-4264-1EE0-3E368D53350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5160" y="2516461"/>
            <a:ext cx="3674062" cy="787760"/>
          </a:xfrm>
          <a:prstGeom prst="rect">
            <a:avLst/>
          </a:prstGeom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B31E6CC5-11F3-9EAE-FD9F-44772886F46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06828" y="1162025"/>
            <a:ext cx="6239554" cy="3875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490856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82163F-548B-42DC-A8CE-5A9F28E6D8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anks for your attention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17D15E6-7E32-4891-AE59-B5AA6A1CC166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584199" y="6234177"/>
            <a:ext cx="2743200" cy="365125"/>
          </a:xfrm>
        </p:spPr>
        <p:txBody>
          <a:bodyPr/>
          <a:lstStyle/>
          <a:p>
            <a:r>
              <a:rPr lang="fr-FR" dirty="0"/>
              <a:t>2025 August 21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FD22C9E-D264-4A72-8DBF-239414ACFC4A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3784599" y="6234177"/>
            <a:ext cx="4114800" cy="365125"/>
          </a:xfrm>
        </p:spPr>
        <p:txBody>
          <a:bodyPr/>
          <a:lstStyle/>
          <a:p>
            <a:r>
              <a:rPr lang="en-001" dirty="0"/>
              <a:t>European Tyre &amp; Rim Technical Organis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E72B258-391A-4D16-AEDA-38646B1EF9E6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356599" y="6234177"/>
            <a:ext cx="2743200" cy="365125"/>
          </a:xfrm>
        </p:spPr>
        <p:txBody>
          <a:bodyPr/>
          <a:lstStyle/>
          <a:p>
            <a:fld id="{74F045D9-6A50-447E-9A04-3B3C9EFFC6F0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267287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YBAQEBAQEBAQEBAQEBAQIAAAAAAAAAAwAAAAMAAAAA/////wQASwwAAAAAAAAAAAAAIAD///////////////8AAAD////////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5h9rcxIEDdMir0teMNUmF8FAAAAAAADAAAAAwADAAAAAQADAAEA////////BAAAAAMAEAALisRzoQIttUiARnEF4PGV1AUAAAABAAMAAAAAAAM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OQ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aAAZMaW5rZWRTaGFwZXNEYXRhUHJvcGVydHlfMAUAAAAAAAQAAAADAAQAAAABAAQAAAADAP///////wMABgEDAAAAAwD///////8lAAZMaW5rZWRTaGFwZVByZXNlbnRhdGlvblNldHRpbmdzRGF0YV8wBQAAAAEABAAAAAAABAAAAAIABAAAAAAABAAAAAIA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3DgAAAAAAAAAAAAD/////gwCDAAAABV9pZAAQAAAABJh9rcxIEDdMir0teMNUmF8DRGF0YQAbAAAABExpbmtlZFNoYXBlRGF0YQAFAAAAAAACTmFtZQAZAAAATGlua2VkU2hhcGVzRGF0YVByb3BlcnR5ABBWZXJzaW9uAAAAAAAJTGFzdFdyaXRlAFkNcgKQAQAAAAEA/////50AnQAAAAVfaWQAEAAAAASKxHOhAi21SIBGcQXg8ZXUA0RhdGEAKgAAAAhQcmVzZW50YXRpb25TY2FubmVkRm9yTGlua2VkU2hhcGVzAAEAAk5hbWUAJAAAAExpbmtlZFNoYXBlUHJlc2VudGF0aW9uU2V0dGluZ3NEYXRhABBWZXJzaW9uAAAAAAAJTGFzdFdyaXRlAHoNcgKQ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heme/theme1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02309-ETRTO-TEMPLATE (2).pptx" id="{A12E2A12-50AE-4F35-85F2-4EC5093C29C7}" vid="{45F85C68-491B-41EB-A1D2-3E27DB86E958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dd7ef93e-177d-4164-9333-a20586dbba11">
      <UserInfo>
        <DisplayName>Jean-Dominique Perrot</DisplayName>
        <AccountId>3</AccountId>
        <AccountType/>
      </UserInfo>
      <UserInfo>
        <DisplayName>Frederic Biesse</DisplayName>
        <AccountId>15</AccountId>
        <AccountType/>
      </UserInfo>
      <UserInfo>
        <DisplayName>Mike Knauff</DisplayName>
        <AccountId>33</AccountId>
        <AccountType/>
      </UserInfo>
      <UserInfo>
        <DisplayName>Lingjie CAI （蔡凌杰）</DisplayName>
        <AccountId>47</AccountId>
        <AccountType/>
      </UserInfo>
    </SharedWithUsers>
    <lcf76f155ced4ddcb4097134ff3c332f xmlns="1debcf2b-dc41-4736-8d2d-f17ee7a56309">
      <Terms xmlns="http://schemas.microsoft.com/office/infopath/2007/PartnerControls"/>
    </lcf76f155ced4ddcb4097134ff3c332f>
    <TaxCatchAll xmlns="dd7ef93e-177d-4164-9333-a20586dbba11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70134C19A675E43987FF47511815F07" ma:contentTypeVersion="17" ma:contentTypeDescription="Create a new document." ma:contentTypeScope="" ma:versionID="f658f97a3abe72767109de93360f45d1">
  <xsd:schema xmlns:xsd="http://www.w3.org/2001/XMLSchema" xmlns:xs="http://www.w3.org/2001/XMLSchema" xmlns:p="http://schemas.microsoft.com/office/2006/metadata/properties" xmlns:ns2="1debcf2b-dc41-4736-8d2d-f17ee7a56309" xmlns:ns3="dd7ef93e-177d-4164-9333-a20586dbba11" targetNamespace="http://schemas.microsoft.com/office/2006/metadata/properties" ma:root="true" ma:fieldsID="d3d26ef4657972c3bf61cd3dee70e4ad" ns2:_="" ns3:_="">
    <xsd:import namespace="1debcf2b-dc41-4736-8d2d-f17ee7a56309"/>
    <xsd:import namespace="dd7ef93e-177d-4164-9333-a20586dbba1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bjectDetectorVersions" minOccurs="0"/>
                <xsd:element ref="ns2:MediaServiceLocation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debcf2b-dc41-4736-8d2d-f17ee7a5630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lcf76f155ced4ddcb4097134ff3c332f" ma:index="19" nillable="true" ma:taxonomy="true" ma:internalName="lcf76f155ced4ddcb4097134ff3c332f" ma:taxonomyFieldName="MediaServiceImageTags" ma:displayName="Image Tags" ma:readOnly="false" ma:fieldId="{5cf76f15-5ced-4ddc-b409-7134ff3c332f}" ma:taxonomyMulti="true" ma:sspId="baec4aeb-d159-410d-8e29-7b8081bc29fc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2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Location" ma:index="23" nillable="true" ma:displayName="Location" ma:indexed="true" ma:internalName="MediaServiceLocation" ma:readOnly="true">
      <xsd:simpleType>
        <xsd:restriction base="dms:Text"/>
      </xsd:simple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d7ef93e-177d-4164-9333-a20586dbba11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0" nillable="true" ma:displayName="Taxonomy Catch All Column" ma:hidden="true" ma:list="{e648b1c1-771c-4a53-86f4-08cfbdf36d47}" ma:internalName="TaxCatchAll" ma:showField="CatchAllData" ma:web="dd7ef93e-177d-4164-9333-a20586dbba1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38FE831-2E5C-4512-88CF-073865AA7A1E}">
  <ds:schemaRefs>
    <ds:schemaRef ds:uri="http://purl.org/dc/terms/"/>
    <ds:schemaRef ds:uri="130f1e07-74d4-48fd-86e3-5bde1f915edc"/>
    <ds:schemaRef ds:uri="http://schemas.microsoft.com/office/2006/documentManagement/types"/>
    <ds:schemaRef ds:uri="http://schemas.microsoft.com/office/infopath/2007/PartnerControls"/>
    <ds:schemaRef ds:uri="34e4807d-1a1a-4013-a0a4-1f28f64ffb66"/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http://www.w3.org/XML/1998/namespace"/>
    <ds:schemaRef ds:uri="http://purl.org/dc/dcmitype/"/>
    <ds:schemaRef ds:uri="dd7ef93e-177d-4164-9333-a20586dbba11"/>
    <ds:schemaRef ds:uri="1debcf2b-dc41-4736-8d2d-f17ee7a56309"/>
  </ds:schemaRefs>
</ds:datastoreItem>
</file>

<file path=customXml/itemProps2.xml><?xml version="1.0" encoding="utf-8"?>
<ds:datastoreItem xmlns:ds="http://schemas.openxmlformats.org/officeDocument/2006/customXml" ds:itemID="{F668B07A-1E25-43ED-87C9-C904CDC46D4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debcf2b-dc41-4736-8d2d-f17ee7a56309"/>
    <ds:schemaRef ds:uri="dd7ef93e-177d-4164-9333-a20586dbba1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71DD931A-40DA-4903-84BE-0E4185DB4194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6006a9c5-d130-408c-bc8e-3b5ecdb17aa0}" enabled="1" method="Standard" siteId="{8d4b558f-7b2e-40ba-ad1f-e04d79e6265a}" contentBits="2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202309-ETRTO-TEMPLATE JDP ABRASION</Template>
  <TotalTime>3515</TotalTime>
  <Words>215</Words>
  <Application>Microsoft Office PowerPoint</Application>
  <PresentationFormat>Grand écran</PresentationFormat>
  <Paragraphs>39</Paragraphs>
  <Slides>3</Slides>
  <Notes>0</Notes>
  <HiddenSlides>0</HiddenSlides>
  <MMClips>0</MMClips>
  <ScaleCrop>false</ScaleCrop>
  <HeadingPairs>
    <vt:vector size="6" baseType="variant">
      <vt:variant>
        <vt:lpstr>Polices utilisées</vt:lpstr>
      </vt:variant>
      <vt:variant>
        <vt:i4>3</vt:i4>
      </vt:variant>
      <vt:variant>
        <vt:lpstr>Thème</vt:lpstr>
      </vt:variant>
      <vt:variant>
        <vt:i4>2</vt:i4>
      </vt:variant>
      <vt:variant>
        <vt:lpstr>Titres des diapositives</vt:lpstr>
      </vt:variant>
      <vt:variant>
        <vt:i4>3</vt:i4>
      </vt:variant>
    </vt:vector>
  </HeadingPairs>
  <TitlesOfParts>
    <vt:vector size="8" baseType="lpstr">
      <vt:lpstr>Arial</vt:lpstr>
      <vt:lpstr>Calibri</vt:lpstr>
      <vt:lpstr>Calibri Light</vt:lpstr>
      <vt:lpstr>Thème Office</vt:lpstr>
      <vt:lpstr>Office Theme</vt:lpstr>
      <vt:lpstr>XL tyres allowance</vt:lpstr>
      <vt:lpstr>ETRTO test results illustrating XL vs SL tyres abrasion index</vt:lpstr>
      <vt:lpstr>Thanks for your attention</vt:lpstr>
    </vt:vector>
  </TitlesOfParts>
  <Company>Micheli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aoda drum/TC19</dc:title>
  <dc:creator>Jean-Dominique Perrot</dc:creator>
  <cp:lastModifiedBy>Nicolas De Mahieu</cp:lastModifiedBy>
  <cp:revision>18</cp:revision>
  <dcterms:created xsi:type="dcterms:W3CDTF">2024-04-03T12:42:48Z</dcterms:created>
  <dcterms:modified xsi:type="dcterms:W3CDTF">2025-08-20T16:14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09e9a456-2778-4ca9-be06-1190b1e1118a_Enabled">
    <vt:lpwstr>true</vt:lpwstr>
  </property>
  <property fmtid="{D5CDD505-2E9C-101B-9397-08002B2CF9AE}" pid="3" name="MSIP_Label_09e9a456-2778-4ca9-be06-1190b1e1118a_SetDate">
    <vt:lpwstr>2024-04-03T12:39:20Z</vt:lpwstr>
  </property>
  <property fmtid="{D5CDD505-2E9C-101B-9397-08002B2CF9AE}" pid="4" name="MSIP_Label_09e9a456-2778-4ca9-be06-1190b1e1118a_Method">
    <vt:lpwstr>Standard</vt:lpwstr>
  </property>
  <property fmtid="{D5CDD505-2E9C-101B-9397-08002B2CF9AE}" pid="5" name="MSIP_Label_09e9a456-2778-4ca9-be06-1190b1e1118a_Name">
    <vt:lpwstr>D3</vt:lpwstr>
  </property>
  <property fmtid="{D5CDD505-2E9C-101B-9397-08002B2CF9AE}" pid="6" name="MSIP_Label_09e9a456-2778-4ca9-be06-1190b1e1118a_SiteId">
    <vt:lpwstr>658ba197-6c73-4fea-91bd-1c7d8de6bf2c</vt:lpwstr>
  </property>
  <property fmtid="{D5CDD505-2E9C-101B-9397-08002B2CF9AE}" pid="7" name="MSIP_Label_09e9a456-2778-4ca9-be06-1190b1e1118a_ActionId">
    <vt:lpwstr>0eb249b7-0cfe-4d6f-8b92-e6e8a857ffc6</vt:lpwstr>
  </property>
  <property fmtid="{D5CDD505-2E9C-101B-9397-08002B2CF9AE}" pid="8" name="MSIP_Label_09e9a456-2778-4ca9-be06-1190b1e1118a_ContentBits">
    <vt:lpwstr>0</vt:lpwstr>
  </property>
  <property fmtid="{D5CDD505-2E9C-101B-9397-08002B2CF9AE}" pid="9" name="MediaServiceImageTags">
    <vt:lpwstr/>
  </property>
  <property fmtid="{D5CDD505-2E9C-101B-9397-08002B2CF9AE}" pid="10" name="Order">
    <vt:r8>15400</vt:r8>
  </property>
  <property fmtid="{D5CDD505-2E9C-101B-9397-08002B2CF9AE}" pid="11" name="xd_Signature">
    <vt:bool>false</vt:bool>
  </property>
  <property fmtid="{D5CDD505-2E9C-101B-9397-08002B2CF9AE}" pid="12" name="SharedWithUsers">
    <vt:lpwstr>3;#Jean-Dominique Perrot;#15;#Frederic Biesse;#33;#Mike Knauff;#47;#Lingjie CAI （蔡凌杰）</vt:lpwstr>
  </property>
  <property fmtid="{D5CDD505-2E9C-101B-9397-08002B2CF9AE}" pid="13" name="xd_ProgID">
    <vt:lpwstr/>
  </property>
  <property fmtid="{D5CDD505-2E9C-101B-9397-08002B2CF9AE}" pid="14" name="ComplianceAssetId">
    <vt:lpwstr/>
  </property>
  <property fmtid="{D5CDD505-2E9C-101B-9397-08002B2CF9AE}" pid="15" name="TemplateUrl">
    <vt:lpwstr/>
  </property>
  <property fmtid="{D5CDD505-2E9C-101B-9397-08002B2CF9AE}" pid="16" name="_ExtendedDescription">
    <vt:lpwstr/>
  </property>
  <property fmtid="{D5CDD505-2E9C-101B-9397-08002B2CF9AE}" pid="17" name="TriggerFlowInfo">
    <vt:lpwstr/>
  </property>
  <property fmtid="{D5CDD505-2E9C-101B-9397-08002B2CF9AE}" pid="18" name="ClassificationContentMarkingFooterLocations">
    <vt:lpwstr>Thème Office:9</vt:lpwstr>
  </property>
  <property fmtid="{D5CDD505-2E9C-101B-9397-08002B2CF9AE}" pid="19" name="ClassificationContentMarkingFooterText">
    <vt:lpwstr>Internal</vt:lpwstr>
  </property>
  <property fmtid="{D5CDD505-2E9C-101B-9397-08002B2CF9AE}" pid="20" name="ContentTypeId">
    <vt:lpwstr>0x010100270134C19A675E43987FF47511815F07</vt:lpwstr>
  </property>
</Properties>
</file>